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</p:sldMasterIdLst>
  <p:notesMasterIdLst>
    <p:notesMasterId r:id="rId6"/>
  </p:notesMasterIdLst>
  <p:handoutMasterIdLst>
    <p:handoutMasterId r:id="rId7"/>
  </p:handoutMasterIdLst>
  <p:sldIdLst>
    <p:sldId id="260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EBEFF5"/>
    <a:srgbClr val="FF0000"/>
    <a:srgbClr val="4C6C9C"/>
    <a:srgbClr val="404040"/>
    <a:srgbClr val="C3CFE1"/>
    <a:srgbClr val="364D6E"/>
    <a:srgbClr val="6F8DB9"/>
    <a:srgbClr val="C5D1E3"/>
    <a:srgbClr val="D8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4EB433-4E08-4533-939C-B516DB27A75A}" v="4" dt="2024-09-06T08:56:23.9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0" autoAdjust="0"/>
    <p:restoredTop sz="70982" autoAdjust="0"/>
  </p:normalViewPr>
  <p:slideViewPr>
    <p:cSldViewPr snapToGrid="0" showGuides="1">
      <p:cViewPr>
        <p:scale>
          <a:sx n="125" d="100"/>
          <a:sy n="125" d="100"/>
        </p:scale>
        <p:origin x="3318" y="8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onWaldow, Ulrich" userId="c64b3fe1-2fbf-4408-adc4-30add62e991f" providerId="ADAL" clId="{CEDD6EA2-EECD-493A-A37C-E0006BFF8DD1}"/>
    <pc:docChg chg="custSel addSld delSld modSld replTag">
      <pc:chgData name="vonWaldow, Ulrich" userId="c64b3fe1-2fbf-4408-adc4-30add62e991f" providerId="ADAL" clId="{CEDD6EA2-EECD-493A-A37C-E0006BFF8DD1}" dt="2024-09-03T13:45:48.148" v="17" actId="47"/>
      <pc:docMkLst>
        <pc:docMk/>
      </pc:docMkLst>
      <pc:sldChg chg="modSp mod modShow">
        <pc:chgData name="vonWaldow, Ulrich" userId="c64b3fe1-2fbf-4408-adc4-30add62e991f" providerId="ADAL" clId="{CEDD6EA2-EECD-493A-A37C-E0006BFF8DD1}" dt="2024-09-03T13:36:39.479" v="15"/>
        <pc:sldMkLst>
          <pc:docMk/>
          <pc:sldMk cId="2116952522" sldId="260"/>
        </pc:sldMkLst>
        <pc:spChg chg="mod">
          <ac:chgData name="vonWaldow, Ulrich" userId="c64b3fe1-2fbf-4408-adc4-30add62e991f" providerId="ADAL" clId="{CEDD6EA2-EECD-493A-A37C-E0006BFF8DD1}" dt="2024-09-03T13:33:54.955" v="9" actId="948"/>
          <ac:spMkLst>
            <pc:docMk/>
            <pc:sldMk cId="2116952522" sldId="260"/>
            <ac:spMk id="2" creationId="{0750FB05-03B3-31D6-13E9-45859B581481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3" creationId="{5657A0C4-C8B8-C20A-40F4-198DBEFDF301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4" creationId="{C4B8857D-D18B-D3A8-4063-0B60FC536EA4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5" creationId="{7E26BC16-C872-8FD7-00F3-E5DE233459E0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6" creationId="{1CE36457-C1FA-C38E-001A-01F11268510F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1" creationId="{7597AA68-3067-A16D-4DB5-7DD23E954BFD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2" creationId="{E7A604DC-B6DB-A34E-DBFC-D6C8FCFA6BFD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3" creationId="{B9CEF329-77B0-45F3-F4A4-CFC6F1446391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4" creationId="{B9E3B2C7-A3AB-80F7-731A-D2A1C29939E8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5" creationId="{BC1B5B6C-0F79-A84B-7B56-8EBD941A8758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6" creationId="{5FCFA50D-210F-D3E8-C83E-CB744D4BC62E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7" creationId="{035946D2-40C0-8A7C-809A-AD81A41491AD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18" creationId="{4FEA0697-0F8C-CA8F-2575-383C5F5E2BD1}"/>
          </ac:spMkLst>
        </pc:spChg>
        <pc:spChg chg="mod">
          <ac:chgData name="vonWaldow, Ulrich" userId="c64b3fe1-2fbf-4408-adc4-30add62e991f" providerId="ADAL" clId="{CEDD6EA2-EECD-493A-A37C-E0006BFF8DD1}" dt="2024-09-03T13:36:39.479" v="15"/>
          <ac:spMkLst>
            <pc:docMk/>
            <pc:sldMk cId="2116952522" sldId="260"/>
            <ac:spMk id="33" creationId="{963C7E66-7E87-EC4E-912D-AAABFA41962C}"/>
          </ac:spMkLst>
        </pc:spChg>
        <pc:spChg chg="mod">
          <ac:chgData name="vonWaldow, Ulrich" userId="c64b3fe1-2fbf-4408-adc4-30add62e991f" providerId="ADAL" clId="{CEDD6EA2-EECD-493A-A37C-E0006BFF8DD1}" dt="2024-09-03T13:36:30.805" v="14"/>
          <ac:spMkLst>
            <pc:docMk/>
            <pc:sldMk cId="2116952522" sldId="260"/>
            <ac:spMk id="34" creationId="{4D61D5E3-D4B0-D197-98C8-14D601171576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35" creationId="{E09947DD-296C-6CD4-73A7-D185D8FA41DF}"/>
          </ac:spMkLst>
        </pc:spChg>
        <pc:spChg chg="mod">
          <ac:chgData name="vonWaldow, Ulrich" userId="c64b3fe1-2fbf-4408-adc4-30add62e991f" providerId="ADAL" clId="{CEDD6EA2-EECD-493A-A37C-E0006BFF8DD1}" dt="2024-09-03T13:33:54.438" v="8"/>
          <ac:spMkLst>
            <pc:docMk/>
            <pc:sldMk cId="2116952522" sldId="260"/>
            <ac:spMk id="36" creationId="{14C0E3A6-12DA-9015-E731-1C738F77F431}"/>
          </ac:spMkLst>
        </pc:spChg>
        <pc:graphicFrameChg chg="mod">
          <ac:chgData name="vonWaldow, Ulrich" userId="c64b3fe1-2fbf-4408-adc4-30add62e991f" providerId="ADAL" clId="{CEDD6EA2-EECD-493A-A37C-E0006BFF8DD1}" dt="2024-09-03T13:33:54.963" v="13"/>
          <ac:graphicFrameMkLst>
            <pc:docMk/>
            <pc:sldMk cId="2116952522" sldId="260"/>
            <ac:graphicFrameMk id="19" creationId="{034C62C7-F4F2-34AD-9078-54E39676EF91}"/>
          </ac:graphicFrameMkLst>
        </pc:graphicFrameChg>
      </pc:sldChg>
      <pc:sldChg chg="del">
        <pc:chgData name="vonWaldow, Ulrich" userId="c64b3fe1-2fbf-4408-adc4-30add62e991f" providerId="ADAL" clId="{CEDD6EA2-EECD-493A-A37C-E0006BFF8DD1}" dt="2024-09-03T13:33:21.187" v="0" actId="47"/>
        <pc:sldMkLst>
          <pc:docMk/>
          <pc:sldMk cId="743316995" sldId="261"/>
        </pc:sldMkLst>
      </pc:sldChg>
      <pc:sldChg chg="new del">
        <pc:chgData name="vonWaldow, Ulrich" userId="c64b3fe1-2fbf-4408-adc4-30add62e991f" providerId="ADAL" clId="{CEDD6EA2-EECD-493A-A37C-E0006BFF8DD1}" dt="2024-09-03T13:45:48.148" v="17" actId="47"/>
        <pc:sldMkLst>
          <pc:docMk/>
          <pc:sldMk cId="3291590117" sldId="261"/>
        </pc:sldMkLst>
      </pc:sldChg>
      <pc:sldChg chg="del">
        <pc:chgData name="vonWaldow, Ulrich" userId="c64b3fe1-2fbf-4408-adc4-30add62e991f" providerId="ADAL" clId="{CEDD6EA2-EECD-493A-A37C-E0006BFF8DD1}" dt="2024-09-03T13:33:21.187" v="0" actId="47"/>
        <pc:sldMkLst>
          <pc:docMk/>
          <pc:sldMk cId="1636317749" sldId="262"/>
        </pc:sldMkLst>
      </pc:sldChg>
    </pc:docChg>
  </pc:docChgLst>
  <pc:docChgLst>
    <pc:chgData name="vonWaldow, Ulrich" userId="c64b3fe1-2fbf-4408-adc4-30add62e991f" providerId="ADAL" clId="{084EB433-4E08-4533-939C-B516DB27A75A}"/>
    <pc:docChg chg="undo custSel addSld delSld modSld modMainMaster">
      <pc:chgData name="vonWaldow, Ulrich" userId="c64b3fe1-2fbf-4408-adc4-30add62e991f" providerId="ADAL" clId="{084EB433-4E08-4533-939C-B516DB27A75A}" dt="2024-09-06T08:56:28.900" v="58" actId="20577"/>
      <pc:docMkLst>
        <pc:docMk/>
      </pc:docMkLst>
      <pc:sldChg chg="modSp mod">
        <pc:chgData name="vonWaldow, Ulrich" userId="c64b3fe1-2fbf-4408-adc4-30add62e991f" providerId="ADAL" clId="{084EB433-4E08-4533-939C-B516DB27A75A}" dt="2024-09-06T08:56:28.900" v="58" actId="20577"/>
        <pc:sldMkLst>
          <pc:docMk/>
          <pc:sldMk cId="2116952522" sldId="260"/>
        </pc:sldMkLst>
        <pc:spChg chg="mod">
          <ac:chgData name="vonWaldow, Ulrich" userId="c64b3fe1-2fbf-4408-adc4-30add62e991f" providerId="ADAL" clId="{084EB433-4E08-4533-939C-B516DB27A75A}" dt="2024-09-06T08:55:40.029" v="52" actId="20577"/>
          <ac:spMkLst>
            <pc:docMk/>
            <pc:sldMk cId="2116952522" sldId="260"/>
            <ac:spMk id="3" creationId="{5657A0C4-C8B8-C20A-40F4-198DBEFDF301}"/>
          </ac:spMkLst>
        </pc:spChg>
        <pc:spChg chg="mod">
          <ac:chgData name="vonWaldow, Ulrich" userId="c64b3fe1-2fbf-4408-adc4-30add62e991f" providerId="ADAL" clId="{084EB433-4E08-4533-939C-B516DB27A75A}" dt="2024-09-06T08:55:35.133" v="35" actId="20577"/>
          <ac:spMkLst>
            <pc:docMk/>
            <pc:sldMk cId="2116952522" sldId="260"/>
            <ac:spMk id="4" creationId="{C4B8857D-D18B-D3A8-4063-0B60FC536EA4}"/>
          </ac:spMkLst>
        </pc:spChg>
        <pc:spChg chg="mod">
          <ac:chgData name="vonWaldow, Ulrich" userId="c64b3fe1-2fbf-4408-adc4-30add62e991f" providerId="ADAL" clId="{084EB433-4E08-4533-939C-B516DB27A75A}" dt="2024-09-06T08:56:28.900" v="58" actId="20577"/>
          <ac:spMkLst>
            <pc:docMk/>
            <pc:sldMk cId="2116952522" sldId="260"/>
            <ac:spMk id="6" creationId="{1CE36457-C1FA-C38E-001A-01F11268510F}"/>
          </ac:spMkLst>
        </pc:spChg>
      </pc:sldChg>
      <pc:sldChg chg="new del">
        <pc:chgData name="vonWaldow, Ulrich" userId="c64b3fe1-2fbf-4408-adc4-30add62e991f" providerId="ADAL" clId="{084EB433-4E08-4533-939C-B516DB27A75A}" dt="2024-09-04T08:40:36.912" v="10" actId="47"/>
        <pc:sldMkLst>
          <pc:docMk/>
          <pc:sldMk cId="864981954" sldId="261"/>
        </pc:sldMkLst>
      </pc:sldChg>
      <pc:sldMasterChg chg="delSldLayout modSldLayout">
        <pc:chgData name="vonWaldow, Ulrich" userId="c64b3fe1-2fbf-4408-adc4-30add62e991f" providerId="ADAL" clId="{084EB433-4E08-4533-939C-B516DB27A75A}" dt="2024-09-06T08:56:23.957" v="56" actId="404"/>
        <pc:sldMasterMkLst>
          <pc:docMk/>
          <pc:sldMasterMk cId="3620642421" sldId="2147483927"/>
        </pc:sldMasterMkLst>
        <pc:sldLayoutChg chg="modSp mod">
          <pc:chgData name="vonWaldow, Ulrich" userId="c64b3fe1-2fbf-4408-adc4-30add62e991f" providerId="ADAL" clId="{084EB433-4E08-4533-939C-B516DB27A75A}" dt="2024-09-06T08:56:23.957" v="56" actId="404"/>
          <pc:sldLayoutMkLst>
            <pc:docMk/>
            <pc:sldMasterMk cId="3620642421" sldId="2147483927"/>
            <pc:sldLayoutMk cId="960772129" sldId="2147483958"/>
          </pc:sldLayoutMkLst>
          <pc:spChg chg="mod">
            <ac:chgData name="vonWaldow, Ulrich" userId="c64b3fe1-2fbf-4408-adc4-30add62e991f" providerId="ADAL" clId="{084EB433-4E08-4533-939C-B516DB27A75A}" dt="2024-09-03T13:46:59.899" v="6"/>
            <ac:spMkLst>
              <pc:docMk/>
              <pc:sldMasterMk cId="3620642421" sldId="2147483927"/>
              <pc:sldLayoutMk cId="960772129" sldId="2147483958"/>
              <ac:spMk id="3" creationId="{95E970B6-3998-A5AF-6789-D415965D6A89}"/>
            </ac:spMkLst>
          </pc:spChg>
          <pc:spChg chg="mod">
            <ac:chgData name="vonWaldow, Ulrich" userId="c64b3fe1-2fbf-4408-adc4-30add62e991f" providerId="ADAL" clId="{084EB433-4E08-4533-939C-B516DB27A75A}" dt="2024-09-06T08:56:16.733" v="53" actId="404"/>
            <ac:spMkLst>
              <pc:docMk/>
              <pc:sldMasterMk cId="3620642421" sldId="2147483927"/>
              <pc:sldLayoutMk cId="960772129" sldId="2147483958"/>
              <ac:spMk id="20" creationId="{CCC1D9B0-3E3B-6A81-82B1-B48232D64945}"/>
            </ac:spMkLst>
          </pc:spChg>
          <pc:spChg chg="mod">
            <ac:chgData name="vonWaldow, Ulrich" userId="c64b3fe1-2fbf-4408-adc4-30add62e991f" providerId="ADAL" clId="{084EB433-4E08-4533-939C-B516DB27A75A}" dt="2024-09-06T08:56:18.877" v="54" actId="404"/>
            <ac:spMkLst>
              <pc:docMk/>
              <pc:sldMasterMk cId="3620642421" sldId="2147483927"/>
              <pc:sldLayoutMk cId="960772129" sldId="2147483958"/>
              <ac:spMk id="23" creationId="{CA377B26-3BA2-4654-6FCA-6098BB9E0117}"/>
            </ac:spMkLst>
          </pc:spChg>
          <pc:spChg chg="mod">
            <ac:chgData name="vonWaldow, Ulrich" userId="c64b3fe1-2fbf-4408-adc4-30add62e991f" providerId="ADAL" clId="{084EB433-4E08-4533-939C-B516DB27A75A}" dt="2024-09-06T08:56:21.569" v="55" actId="404"/>
            <ac:spMkLst>
              <pc:docMk/>
              <pc:sldMasterMk cId="3620642421" sldId="2147483927"/>
              <pc:sldLayoutMk cId="960772129" sldId="2147483958"/>
              <ac:spMk id="25" creationId="{0D6A690C-8E97-EFC0-430C-4028B1A71B84}"/>
            </ac:spMkLst>
          </pc:spChg>
          <pc:spChg chg="mod">
            <ac:chgData name="vonWaldow, Ulrich" userId="c64b3fe1-2fbf-4408-adc4-30add62e991f" providerId="ADAL" clId="{084EB433-4E08-4533-939C-B516DB27A75A}" dt="2024-09-06T08:56:23.957" v="56" actId="404"/>
            <ac:spMkLst>
              <pc:docMk/>
              <pc:sldMasterMk cId="3620642421" sldId="2147483927"/>
              <pc:sldLayoutMk cId="960772129" sldId="2147483958"/>
              <ac:spMk id="31" creationId="{28C3A46C-1471-B32F-D881-A63D1A5126CC}"/>
            </ac:spMkLst>
          </pc:spChg>
          <pc:spChg chg="mod">
            <ac:chgData name="vonWaldow, Ulrich" userId="c64b3fe1-2fbf-4408-adc4-30add62e991f" providerId="ADAL" clId="{084EB433-4E08-4533-939C-B516DB27A75A}" dt="2024-09-03T13:46:50.703" v="4"/>
            <ac:spMkLst>
              <pc:docMk/>
              <pc:sldMasterMk cId="3620642421" sldId="2147483927"/>
              <pc:sldLayoutMk cId="960772129" sldId="2147483958"/>
              <ac:spMk id="52" creationId="{4BD8967D-16E0-5F11-0352-4C03683458DE}"/>
            </ac:spMkLst>
          </pc:spChg>
          <pc:spChg chg="mod">
            <ac:chgData name="vonWaldow, Ulrich" userId="c64b3fe1-2fbf-4408-adc4-30add62e991f" providerId="ADAL" clId="{084EB433-4E08-4533-939C-B516DB27A75A}" dt="2024-09-03T13:46:55.416" v="5"/>
            <ac:spMkLst>
              <pc:docMk/>
              <pc:sldMasterMk cId="3620642421" sldId="2147483927"/>
              <pc:sldLayoutMk cId="960772129" sldId="2147483958"/>
              <ac:spMk id="53" creationId="{5EB6F190-51CC-A0C4-6015-940E4AAD7C94}"/>
            </ac:spMkLst>
          </pc:spChg>
        </pc:sldLayoutChg>
        <pc:sldLayoutChg chg="del">
          <pc:chgData name="vonWaldow, Ulrich" userId="c64b3fe1-2fbf-4408-adc4-30add62e991f" providerId="ADAL" clId="{084EB433-4E08-4533-939C-B516DB27A75A}" dt="2024-09-03T13:46:25.927" v="0" actId="2696"/>
          <pc:sldLayoutMkLst>
            <pc:docMk/>
            <pc:sldMasterMk cId="3620642421" sldId="2147483927"/>
            <pc:sldLayoutMk cId="2538349368" sldId="2147483959"/>
          </pc:sldLayoutMkLst>
        </pc:sldLayoutChg>
        <pc:sldLayoutChg chg="del">
          <pc:chgData name="vonWaldow, Ulrich" userId="c64b3fe1-2fbf-4408-adc4-30add62e991f" providerId="ADAL" clId="{084EB433-4E08-4533-939C-B516DB27A75A}" dt="2024-09-03T13:46:25.945" v="1" actId="2696"/>
          <pc:sldLayoutMkLst>
            <pc:docMk/>
            <pc:sldMasterMk cId="3620642421" sldId="2147483927"/>
            <pc:sldLayoutMk cId="610450036" sldId="2147483960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3C11CFA-A72A-0890-E5A7-568296D39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CBD2FA-B6D7-DA79-C37D-88DA1310AC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DF67D-6B33-4511-8215-1BAA75E9A259}" type="datetimeFigureOut">
              <a:rPr lang="de-DE" smtClean="0"/>
              <a:t>06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312782-5779-AF88-96D4-D9FFC40012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B6B99F-AF1B-96FE-B1D1-BC9E79D4AD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C12231-8194-48F1-B6D5-A23902F0EA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098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BB4B0D-3BE5-4B36-92D1-1D1058870271}" type="datetimeFigureOut">
              <a:rPr lang="de-DE" smtClean="0"/>
              <a:t>06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58935-88FB-4ACC-944A-5F92DB8287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941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se Case (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1283FF-1F57-7F70-DD9E-8C2D47584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7454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1283FF-1F57-7F70-DD9E-8C2D47584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Parallelogramm 53">
            <a:extLst>
              <a:ext uri="{FF2B5EF4-FFF2-40B4-BE49-F238E27FC236}">
                <a16:creationId xmlns:a16="http://schemas.microsoft.com/office/drawing/2014/main" id="{12D466F9-A3C9-4AE5-DA66-A5DC4105C7D6}"/>
              </a:ext>
            </a:extLst>
          </p:cNvPr>
          <p:cNvSpPr/>
          <p:nvPr userDrawn="1"/>
        </p:nvSpPr>
        <p:spPr>
          <a:xfrm>
            <a:off x="4485235" y="1399199"/>
            <a:ext cx="7376762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3" name="Rechteck 30">
            <a:extLst>
              <a:ext uri="{FF2B5EF4-FFF2-40B4-BE49-F238E27FC236}">
                <a16:creationId xmlns:a16="http://schemas.microsoft.com/office/drawing/2014/main" id="{95E970B6-3998-A5AF-6789-D415965D6A89}"/>
              </a:ext>
            </a:extLst>
          </p:cNvPr>
          <p:cNvSpPr/>
          <p:nvPr userDrawn="1"/>
        </p:nvSpPr>
        <p:spPr>
          <a:xfrm>
            <a:off x="0" y="1052512"/>
            <a:ext cx="3969600" cy="5805487"/>
          </a:xfrm>
          <a:prstGeom prst="rect">
            <a:avLst/>
          </a:prstGeom>
          <a:solidFill>
            <a:srgbClr val="00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0" tIns="36000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2000" b="1" kern="0">
                <a:solidFill>
                  <a:schemeClr val="bg1"/>
                </a:solidFill>
                <a:latin typeface="Arial" panose="020B0604020202020204"/>
              </a:rPr>
              <a:t>Potenziale</a:t>
            </a:r>
            <a:endParaRPr lang="de-DE" sz="20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14" name="Rectangle 3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4962" y="0"/>
            <a:ext cx="11522075" cy="586860"/>
          </a:xfrm>
          <a:prstGeom prst="rect">
            <a:avLst/>
          </a:prstGeom>
          <a:solidFill>
            <a:schemeClr val="bg1">
              <a:alpha val="43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marL="0" lvl="0"/>
            <a:r>
              <a:rPr lang="de-DE" dirty="0"/>
              <a:t>Actiontitl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A3E7E7F6-EB4C-C39D-C5E9-C4EFD4B0118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8200" y="3498226"/>
            <a:ext cx="7141359" cy="1276974"/>
          </a:xfrm>
        </p:spPr>
        <p:txBody>
          <a:bodyPr lIns="36000" tIns="90000" rIns="36000" bIns="36000" numCol="2" spcCol="18000">
            <a:noAutofit/>
          </a:bodyPr>
          <a:lstStyle>
            <a:lvl1pPr marL="171450" indent="-171450" algn="l">
              <a:lnSpc>
                <a:spcPts val="17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de-DE" dirty="0"/>
              <a:t>Unser Lösungskonzept (6-8 Stichpunkte)</a:t>
            </a:r>
          </a:p>
          <a:p>
            <a:pPr lvl="0"/>
            <a:r>
              <a:rPr lang="de-DE" dirty="0"/>
              <a:t>Schriftgröße 12</a:t>
            </a:r>
          </a:p>
        </p:txBody>
      </p:sp>
      <p:sp>
        <p:nvSpPr>
          <p:cNvPr id="7" name="Parallelogramm 6">
            <a:extLst>
              <a:ext uri="{FF2B5EF4-FFF2-40B4-BE49-F238E27FC236}">
                <a16:creationId xmlns:a16="http://schemas.microsoft.com/office/drawing/2014/main" id="{9D6C89E7-EEE0-37D4-244F-613C181533AE}"/>
              </a:ext>
            </a:extLst>
          </p:cNvPr>
          <p:cNvSpPr/>
          <p:nvPr/>
        </p:nvSpPr>
        <p:spPr>
          <a:xfrm>
            <a:off x="4485235" y="3179302"/>
            <a:ext cx="7376762" cy="318924"/>
          </a:xfrm>
          <a:prstGeom prst="parallelogram">
            <a:avLst>
              <a:gd name="adj" fmla="val 44911"/>
            </a:avLst>
          </a:prstGeom>
          <a:solidFill>
            <a:schemeClr val="tx2"/>
          </a:solidFill>
        </p:spPr>
        <p:txBody>
          <a:bodyPr rot="0" spcFirstLastPara="0" vertOverflow="overflow" horzOverflow="overflow" vert="horz" wrap="none" lIns="360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600" b="1" kern="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D42B26F-D6DE-CEF7-27D8-AB1F29DD79A2}"/>
              </a:ext>
            </a:extLst>
          </p:cNvPr>
          <p:cNvSpPr/>
          <p:nvPr/>
        </p:nvSpPr>
        <p:spPr>
          <a:xfrm>
            <a:off x="4269235" y="3122764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fik 9" descr="Route zwei Stecknadeln mit Weg mit einfarbiger Füllung">
            <a:extLst>
              <a:ext uri="{FF2B5EF4-FFF2-40B4-BE49-F238E27FC236}">
                <a16:creationId xmlns:a16="http://schemas.microsoft.com/office/drawing/2014/main" id="{17540618-D0CF-3E13-FDF4-E24B33E70A9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70036" y="3223564"/>
            <a:ext cx="230400" cy="230400"/>
          </a:xfrm>
          <a:prstGeom prst="rect">
            <a:avLst/>
          </a:prstGeom>
        </p:spPr>
      </p:pic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B7E76E3-CA0F-0894-6D31-5EB2ED27974D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78201" y="1718123"/>
            <a:ext cx="7141359" cy="459629"/>
          </a:xfrm>
        </p:spPr>
        <p:txBody>
          <a:bodyPr lIns="36000" tIns="90000" rIns="36000" bIns="36000">
            <a:spAutoFit/>
          </a:bodyPr>
          <a:lstStyle>
            <a:lvl1pPr marL="0" indent="0" algn="just">
              <a:lnSpc>
                <a:spcPts val="1700"/>
              </a:lnSpc>
              <a:spcBef>
                <a:spcPts val="0"/>
              </a:spcBef>
              <a:buNone/>
              <a:defRPr/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sgangssituation &amp; Herausforderung (Fließtext, ca. 80 Wörter)</a:t>
            </a:r>
            <a:br>
              <a:rPr lang="de-DE" dirty="0"/>
            </a:br>
            <a:r>
              <a:rPr lang="de-DE" dirty="0"/>
              <a:t>Schriftgröße 12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4DC961F9-FC46-E3B1-59C4-025FA58CF6EB}"/>
              </a:ext>
            </a:extLst>
          </p:cNvPr>
          <p:cNvSpPr/>
          <p:nvPr userDrawn="1"/>
        </p:nvSpPr>
        <p:spPr>
          <a:xfrm>
            <a:off x="4269235" y="1342661"/>
            <a:ext cx="432000" cy="432000"/>
          </a:xfrm>
          <a:prstGeom prst="ellipse">
            <a:avLst/>
          </a:prstGeom>
          <a:solidFill>
            <a:srgbClr val="003366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Grafik 17" descr="Lupe mit einfarbiger Füllung">
            <a:extLst>
              <a:ext uri="{FF2B5EF4-FFF2-40B4-BE49-F238E27FC236}">
                <a16:creationId xmlns:a16="http://schemas.microsoft.com/office/drawing/2014/main" id="{72B80359-4D32-6F57-D7DE-1BA78CAB719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4370035" y="1443461"/>
            <a:ext cx="230400" cy="230400"/>
          </a:xfrm>
          <a:prstGeom prst="rect">
            <a:avLst/>
          </a:prstGeom>
        </p:spPr>
      </p:pic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09149FCD-97B8-C54A-E02A-F1C3B6BB82FD}"/>
              </a:ext>
            </a:extLst>
          </p:cNvPr>
          <p:cNvGrpSpPr>
            <a:grpSpLocks/>
          </p:cNvGrpSpPr>
          <p:nvPr userDrawn="1"/>
        </p:nvGrpSpPr>
        <p:grpSpPr>
          <a:xfrm>
            <a:off x="363762" y="1378661"/>
            <a:ext cx="360000" cy="360000"/>
            <a:chOff x="349823" y="4496646"/>
            <a:chExt cx="288000" cy="288000"/>
          </a:xfrm>
        </p:grpSpPr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1D06FC2E-CEF9-2957-F00B-1BE607E49ECE}"/>
                </a:ext>
              </a:extLst>
            </p:cNvPr>
            <p:cNvSpPr/>
            <p:nvPr/>
          </p:nvSpPr>
          <p:spPr>
            <a:xfrm>
              <a:off x="349823" y="4496646"/>
              <a:ext cx="288000" cy="28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25" tIns="42862" rIns="85725" bIns="428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0" name="Grafik 29" descr="Aufwärtstrend mit einfarbiger Füllung">
              <a:extLst>
                <a:ext uri="{FF2B5EF4-FFF2-40B4-BE49-F238E27FC236}">
                  <a16:creationId xmlns:a16="http://schemas.microsoft.com/office/drawing/2014/main" id="{AAB911AD-2B48-71F8-2E22-4D1217181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78623" y="4525446"/>
              <a:ext cx="230400" cy="230400"/>
            </a:xfrm>
            <a:prstGeom prst="rect">
              <a:avLst/>
            </a:prstGeom>
          </p:spPr>
        </p:pic>
      </p:grpSp>
      <p:sp>
        <p:nvSpPr>
          <p:cNvPr id="40" name="Textplatzhalter 33">
            <a:extLst>
              <a:ext uri="{FF2B5EF4-FFF2-40B4-BE49-F238E27FC236}">
                <a16:creationId xmlns:a16="http://schemas.microsoft.com/office/drawing/2014/main" id="{27C2E5AD-BDA1-9F17-AB59-857A7131DACF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578200" y="5019270"/>
            <a:ext cx="7141360" cy="111141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175">
            <a:noFill/>
          </a:ln>
        </p:spPr>
        <p:txBody>
          <a:bodyPr wrap="square" lIns="360000" tIns="180000" rIns="360000" bIns="18000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800">
                <a:solidFill>
                  <a:schemeClr val="tx2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Ein Aussage, die das Ziel und den Nutzen der Fallstudie für das betrachtete Unternehmen hervorhebt.</a:t>
            </a:r>
            <a:br>
              <a:rPr lang="de-DE" dirty="0"/>
            </a:br>
            <a:r>
              <a:rPr lang="de-DE" dirty="0"/>
              <a:t>Schriftgröße 18, Farbe TCW-blau (0, 51, 102). zentriert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C0269B60-F42B-8D22-2C3F-AE43F03D64F4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334962" y="586859"/>
            <a:ext cx="11522075" cy="32754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265112" indent="0">
              <a:buNone/>
              <a:defRPr sz="1600">
                <a:solidFill>
                  <a:schemeClr val="tx2"/>
                </a:solidFill>
              </a:defRPr>
            </a:lvl2pPr>
            <a:lvl3pPr marL="539750" indent="0">
              <a:buNone/>
              <a:defRPr sz="1600">
                <a:solidFill>
                  <a:schemeClr val="tx2"/>
                </a:solidFill>
              </a:defRPr>
            </a:lvl3pPr>
            <a:lvl4pPr marL="804862" indent="0">
              <a:buNone/>
              <a:defRPr sz="1600">
                <a:solidFill>
                  <a:schemeClr val="tx2"/>
                </a:solidFill>
              </a:defRPr>
            </a:lvl4pPr>
            <a:lvl5pPr marL="1079500" indent="0">
              <a:buNone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Branche | Unternehmensbeschreibung (2. Zeile: nicht, fett, Größe 16)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99763D54-78FB-2EF5-CBDE-11442C4B53F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34018" y="-683511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Unternehmen</a:t>
            </a:r>
          </a:p>
        </p:txBody>
      </p:sp>
      <p:sp>
        <p:nvSpPr>
          <p:cNvPr id="38" name="Textplatzhalter 35">
            <a:extLst>
              <a:ext uri="{FF2B5EF4-FFF2-40B4-BE49-F238E27FC236}">
                <a16:creationId xmlns:a16="http://schemas.microsoft.com/office/drawing/2014/main" id="{53F12A3A-A117-5BCE-BF77-4B08676C6996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934018" y="-373369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Verantwortlicher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FC37B189-9B16-626F-5B19-29A28ADAA16A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4104" y="-990610"/>
            <a:ext cx="828000" cy="828444"/>
          </a:xfrm>
          <a:solidFill>
            <a:schemeClr val="bg1"/>
          </a:solidFill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24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ID</a:t>
            </a:r>
          </a:p>
        </p:txBody>
      </p:sp>
      <p:sp>
        <p:nvSpPr>
          <p:cNvPr id="46" name="Textplatzhalter 35">
            <a:extLst>
              <a:ext uri="{FF2B5EF4-FFF2-40B4-BE49-F238E27FC236}">
                <a16:creationId xmlns:a16="http://schemas.microsoft.com/office/drawing/2014/main" id="{98E1A5E2-65E9-D4C5-7BFA-247F9516CC5C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934018" y="-990610"/>
            <a:ext cx="2966720" cy="211203"/>
          </a:xfrm>
          <a:solidFill>
            <a:schemeClr val="bg1"/>
          </a:solidFill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000"/>
            </a:lvl1pPr>
            <a:lvl2pPr marL="265112" indent="0">
              <a:buNone/>
              <a:defRPr sz="1000"/>
            </a:lvl2pPr>
            <a:lvl3pPr marL="539750" indent="0">
              <a:buNone/>
              <a:defRPr sz="1000"/>
            </a:lvl3pPr>
            <a:lvl4pPr marL="804862" indent="0">
              <a:buNone/>
              <a:defRPr sz="1000"/>
            </a:lvl4pPr>
            <a:lvl5pPr marL="1079500" indent="0">
              <a:buNone/>
              <a:defRPr sz="1000"/>
            </a:lvl5pPr>
          </a:lstStyle>
          <a:p>
            <a:pPr lvl="0"/>
            <a:r>
              <a:rPr lang="de-DE" dirty="0"/>
              <a:t>Domai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6E0BF07-DC96-CD42-353F-15654423F4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9837" t="12940" r="8202" b="14982"/>
          <a:stretch/>
        </p:blipFill>
        <p:spPr>
          <a:xfrm>
            <a:off x="335569" y="6529265"/>
            <a:ext cx="789373" cy="209618"/>
          </a:xfrm>
          <a:prstGeom prst="rect">
            <a:avLst/>
          </a:prstGeom>
        </p:spPr>
      </p:pic>
      <p:sp>
        <p:nvSpPr>
          <p:cNvPr id="12" name="Textplatzhalter 33">
            <a:extLst>
              <a:ext uri="{FF2B5EF4-FFF2-40B4-BE49-F238E27FC236}">
                <a16:creationId xmlns:a16="http://schemas.microsoft.com/office/drawing/2014/main" id="{8DF4CF68-D840-AB43-DD04-B3A3A5F6347A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340910" y="2045049"/>
            <a:ext cx="3628690" cy="443198"/>
          </a:xfrm>
        </p:spPr>
        <p:txBody>
          <a:bodyPr lIns="36000" tIns="0" rIns="3600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KPI 1</a:t>
            </a:r>
          </a:p>
        </p:txBody>
      </p:sp>
      <p:sp>
        <p:nvSpPr>
          <p:cNvPr id="20" name="Textplatzhalter 33">
            <a:extLst>
              <a:ext uri="{FF2B5EF4-FFF2-40B4-BE49-F238E27FC236}">
                <a16:creationId xmlns:a16="http://schemas.microsoft.com/office/drawing/2014/main" id="{CCC1D9B0-3E3B-6A81-82B1-B48232D64945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340910" y="2488247"/>
            <a:ext cx="3628690" cy="606780"/>
          </a:xfrm>
        </p:spPr>
        <p:txBody>
          <a:bodyPr lIns="36000" tIns="0" rIns="36000" bIns="108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265112" indent="0">
              <a:buNone/>
              <a:defRPr/>
            </a:lvl2pPr>
            <a:lvl3pPr marL="539750" indent="0">
              <a:buNone/>
              <a:defRPr/>
            </a:lvl3pPr>
            <a:lvl4pPr marL="804862" indent="0">
              <a:buNone/>
              <a:defRPr/>
            </a:lvl4pPr>
            <a:lvl5pPr marL="1079500" indent="0">
              <a:buNone/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dirty="0"/>
              <a:t>Description KPI 1</a:t>
            </a:r>
          </a:p>
        </p:txBody>
      </p:sp>
      <p:sp>
        <p:nvSpPr>
          <p:cNvPr id="22" name="Textplatzhalter 33">
            <a:extLst>
              <a:ext uri="{FF2B5EF4-FFF2-40B4-BE49-F238E27FC236}">
                <a16:creationId xmlns:a16="http://schemas.microsoft.com/office/drawing/2014/main" id="{955C852B-03F5-26F0-4444-E04E0D0DC09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340910" y="3095027"/>
            <a:ext cx="3628690" cy="443198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3200" b="1" dirty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2</a:t>
            </a:r>
          </a:p>
        </p:txBody>
      </p:sp>
      <p:sp>
        <p:nvSpPr>
          <p:cNvPr id="23" name="Textplatzhalter 33">
            <a:extLst>
              <a:ext uri="{FF2B5EF4-FFF2-40B4-BE49-F238E27FC236}">
                <a16:creationId xmlns:a16="http://schemas.microsoft.com/office/drawing/2014/main" id="{CA377B26-3BA2-4654-6FCA-6098BB9E0117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340910" y="3538225"/>
            <a:ext cx="3628690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400" dirty="0" smtClean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2</a:t>
            </a:r>
          </a:p>
        </p:txBody>
      </p:sp>
      <p:sp>
        <p:nvSpPr>
          <p:cNvPr id="24" name="Textplatzhalter 33">
            <a:extLst>
              <a:ext uri="{FF2B5EF4-FFF2-40B4-BE49-F238E27FC236}">
                <a16:creationId xmlns:a16="http://schemas.microsoft.com/office/drawing/2014/main" id="{9F356882-59BA-8A22-1C87-7353807F2708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340910" y="4145005"/>
            <a:ext cx="3628690" cy="443198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3200" b="1" dirty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3</a:t>
            </a:r>
          </a:p>
        </p:txBody>
      </p:sp>
      <p:sp>
        <p:nvSpPr>
          <p:cNvPr id="25" name="Textplatzhalter 33">
            <a:extLst>
              <a:ext uri="{FF2B5EF4-FFF2-40B4-BE49-F238E27FC236}">
                <a16:creationId xmlns:a16="http://schemas.microsoft.com/office/drawing/2014/main" id="{0D6A690C-8E97-EFC0-430C-4028B1A71B84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340910" y="4588203"/>
            <a:ext cx="3628690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400" dirty="0" smtClean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3</a:t>
            </a:r>
          </a:p>
        </p:txBody>
      </p:sp>
      <p:sp>
        <p:nvSpPr>
          <p:cNvPr id="26" name="Textplatzhalter 33">
            <a:extLst>
              <a:ext uri="{FF2B5EF4-FFF2-40B4-BE49-F238E27FC236}">
                <a16:creationId xmlns:a16="http://schemas.microsoft.com/office/drawing/2014/main" id="{CDC28740-E260-DED9-33B1-8A6AC4CBBB7C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40910" y="5194983"/>
            <a:ext cx="3628690" cy="443198"/>
          </a:xfrm>
        </p:spPr>
        <p:txBody>
          <a:bodyPr vert="horz" lIns="36000" tIns="0" rIns="36000" bIns="0" rtlCol="0">
            <a:spAutoFit/>
          </a:bodyPr>
          <a:lstStyle>
            <a:lvl1pPr marL="0" indent="0">
              <a:buNone/>
              <a:defRPr lang="de-DE" sz="3200" b="1" dirty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KPI 4</a:t>
            </a:r>
          </a:p>
        </p:txBody>
      </p:sp>
      <p:sp>
        <p:nvSpPr>
          <p:cNvPr id="31" name="Textplatzhalter 33">
            <a:extLst>
              <a:ext uri="{FF2B5EF4-FFF2-40B4-BE49-F238E27FC236}">
                <a16:creationId xmlns:a16="http://schemas.microsoft.com/office/drawing/2014/main" id="{28C3A46C-1471-B32F-D881-A63D1A5126CC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40910" y="5638181"/>
            <a:ext cx="3628690" cy="606780"/>
          </a:xfrm>
        </p:spPr>
        <p:txBody>
          <a:bodyPr vert="horz" lIns="36000" tIns="0" rIns="36000" bIns="108000" rtlCol="0">
            <a:noAutofit/>
          </a:bodyPr>
          <a:lstStyle>
            <a:lvl1pPr marL="0" indent="0">
              <a:buNone/>
              <a:defRPr lang="de-DE" sz="1400" dirty="0" smtClean="0">
                <a:solidFill>
                  <a:schemeClr val="bg1"/>
                </a:solidFill>
              </a:defRPr>
            </a:lvl1pPr>
          </a:lstStyle>
          <a:p>
            <a:pPr marL="265113" marR="0" lvl="0" indent="-265113" fontAlgn="auto">
              <a:spcAft>
                <a:spcPts val="0"/>
              </a:spcAft>
              <a:buClrTx/>
              <a:buSzTx/>
              <a:tabLst/>
            </a:pPr>
            <a:r>
              <a:rPr lang="de-DE" dirty="0"/>
              <a:t>Description KPI 4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4BD8967D-16E0-5F11-0352-4C03683458DE}"/>
              </a:ext>
            </a:extLst>
          </p:cNvPr>
          <p:cNvSpPr txBox="1"/>
          <p:nvPr userDrawn="1"/>
        </p:nvSpPr>
        <p:spPr>
          <a:xfrm>
            <a:off x="4485236" y="1435550"/>
            <a:ext cx="6468762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kern="0" noProof="0" dirty="0">
                <a:solidFill>
                  <a:schemeClr val="bg1"/>
                </a:solidFill>
                <a:latin typeface="Arial" panose="020B0604020202020204"/>
              </a:rPr>
              <a:t>Ausgangssituation &amp; Herausforderung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5EB6F190-51CC-A0C4-6015-940E4AAD7C94}"/>
              </a:ext>
            </a:extLst>
          </p:cNvPr>
          <p:cNvSpPr txBox="1"/>
          <p:nvPr userDrawn="1"/>
        </p:nvSpPr>
        <p:spPr>
          <a:xfrm>
            <a:off x="4485235" y="3215654"/>
            <a:ext cx="6468762" cy="246221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1600" b="1" kern="0" dirty="0">
                <a:solidFill>
                  <a:schemeClr val="bg1"/>
                </a:solidFill>
                <a:latin typeface="Arial" panose="020B0604020202020204"/>
              </a:rPr>
              <a:t>Lösungskonzept</a:t>
            </a:r>
          </a:p>
        </p:txBody>
      </p:sp>
    </p:spTree>
    <p:extLst>
      <p:ext uri="{BB962C8B-B14F-4D97-AF65-F5344CB8AC3E}">
        <p14:creationId xmlns:p14="http://schemas.microsoft.com/office/powerpoint/2010/main" val="960772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DD36FD-C629-44E2-B103-1BF61EC79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187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DD36FD-C629-44E2-B103-1BF61EC79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3">
            <a:extLst>
              <a:ext uri="{FF2B5EF4-FFF2-40B4-BE49-F238E27FC236}">
                <a16:creationId xmlns:a16="http://schemas.microsoft.com/office/drawing/2014/main" id="{64016B32-4EDF-7F92-A9E3-DF3F1521540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35569" y="6526781"/>
            <a:ext cx="789373" cy="214587"/>
          </a:xfrm>
          <a:prstGeom prst="rect">
            <a:avLst/>
          </a:prstGeom>
        </p:spPr>
      </p:pic>
      <p:sp>
        <p:nvSpPr>
          <p:cNvPr id="4" name="Textfeld 1">
            <a:extLst>
              <a:ext uri="{FF2B5EF4-FFF2-40B4-BE49-F238E27FC236}">
                <a16:creationId xmlns:a16="http://schemas.microsoft.com/office/drawing/2014/main" id="{7AB7D72D-C521-F68F-095D-5D1378147241}"/>
              </a:ext>
            </a:extLst>
          </p:cNvPr>
          <p:cNvSpPr txBox="1"/>
          <p:nvPr userDrawn="1"/>
        </p:nvSpPr>
        <p:spPr>
          <a:xfrm>
            <a:off x="11373060" y="6495574"/>
            <a:ext cx="48397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955A0D33-671D-4463-AADC-D94BE68FBDA2}" type="slidenum">
              <a:rPr lang="de-DE" sz="1200" smtClean="0"/>
              <a:pPr algn="ctr"/>
              <a:t>‹Nr.›</a:t>
            </a:fld>
            <a:endParaRPr lang="de-DE" sz="1200"/>
          </a:p>
        </p:txBody>
      </p:sp>
      <p:sp>
        <p:nvSpPr>
          <p:cNvPr id="5" name="Rechteck 9">
            <a:extLst>
              <a:ext uri="{FF2B5EF4-FFF2-40B4-BE49-F238E27FC236}">
                <a16:creationId xmlns:a16="http://schemas.microsoft.com/office/drawing/2014/main" id="{AD5FACE2-69BA-5E04-73D9-B74669A1B763}"/>
              </a:ext>
            </a:extLst>
          </p:cNvPr>
          <p:cNvSpPr/>
          <p:nvPr userDrawn="1"/>
        </p:nvSpPr>
        <p:spPr>
          <a:xfrm>
            <a:off x="12542732" y="0"/>
            <a:ext cx="381964" cy="381964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BB42AAE-627E-D7F4-5482-85472D6847CA}"/>
              </a:ext>
            </a:extLst>
          </p:cNvPr>
          <p:cNvSpPr/>
          <p:nvPr userDrawn="1"/>
        </p:nvSpPr>
        <p:spPr>
          <a:xfrm>
            <a:off x="12542732" y="434552"/>
            <a:ext cx="381964" cy="3819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5913AE5F-76C2-9B2D-180B-36087C449167}"/>
              </a:ext>
            </a:extLst>
          </p:cNvPr>
          <p:cNvSpPr/>
          <p:nvPr userDrawn="1"/>
        </p:nvSpPr>
        <p:spPr>
          <a:xfrm>
            <a:off x="12542732" y="900182"/>
            <a:ext cx="381964" cy="381964"/>
          </a:xfrm>
          <a:prstGeom prst="rect">
            <a:avLst/>
          </a:prstGeom>
          <a:solidFill>
            <a:srgbClr val="E95E2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C046B7D4-16C8-36E5-DA67-6B8FB1FF5B82}"/>
              </a:ext>
            </a:extLst>
          </p:cNvPr>
          <p:cNvSpPr/>
          <p:nvPr userDrawn="1"/>
        </p:nvSpPr>
        <p:spPr>
          <a:xfrm>
            <a:off x="12542732" y="1566324"/>
            <a:ext cx="381964" cy="381964"/>
          </a:xfrm>
          <a:prstGeom prst="rect">
            <a:avLst/>
          </a:prstGeom>
          <a:solidFill>
            <a:srgbClr val="1A2536"/>
          </a:solidFill>
          <a:ln w="9525" algn="ctr">
            <a:solidFill>
              <a:srgbClr val="1A2536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A16CE115-0CAF-9EF1-42ED-E5A2A77AB8A4}"/>
              </a:ext>
            </a:extLst>
          </p:cNvPr>
          <p:cNvSpPr/>
          <p:nvPr userDrawn="1"/>
        </p:nvSpPr>
        <p:spPr>
          <a:xfrm>
            <a:off x="12542732" y="2027295"/>
            <a:ext cx="381964" cy="381964"/>
          </a:xfrm>
          <a:prstGeom prst="rect">
            <a:avLst/>
          </a:prstGeom>
          <a:solidFill>
            <a:srgbClr val="364D6E"/>
          </a:solidFill>
          <a:ln w="9525" algn="ctr">
            <a:solidFill>
              <a:srgbClr val="364D6E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39718A5-48D9-6882-1CCD-F787DE7F35DD}"/>
              </a:ext>
            </a:extLst>
          </p:cNvPr>
          <p:cNvSpPr/>
          <p:nvPr userDrawn="1"/>
        </p:nvSpPr>
        <p:spPr>
          <a:xfrm>
            <a:off x="12542732" y="2488266"/>
            <a:ext cx="381964" cy="381964"/>
          </a:xfrm>
          <a:prstGeom prst="rect">
            <a:avLst/>
          </a:prstGeom>
          <a:solidFill>
            <a:srgbClr val="4C6C9C"/>
          </a:solidFill>
          <a:ln w="9525" algn="ctr">
            <a:solidFill>
              <a:srgbClr val="4C6C9C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A955FF7-14A8-8070-959B-30B4E8BAA46D}"/>
              </a:ext>
            </a:extLst>
          </p:cNvPr>
          <p:cNvSpPr/>
          <p:nvPr userDrawn="1"/>
        </p:nvSpPr>
        <p:spPr>
          <a:xfrm>
            <a:off x="12542732" y="2955343"/>
            <a:ext cx="381964" cy="381964"/>
          </a:xfrm>
          <a:prstGeom prst="rect">
            <a:avLst/>
          </a:prstGeom>
          <a:solidFill>
            <a:srgbClr val="6F8DB9"/>
          </a:solidFill>
          <a:ln w="9525" algn="ctr">
            <a:solidFill>
              <a:srgbClr val="6F8DB9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B9B28BD-5FF9-103B-6F4C-2B514890E1BF}"/>
              </a:ext>
            </a:extLst>
          </p:cNvPr>
          <p:cNvSpPr/>
          <p:nvPr userDrawn="1"/>
        </p:nvSpPr>
        <p:spPr>
          <a:xfrm>
            <a:off x="12542732" y="3422420"/>
            <a:ext cx="381964" cy="381964"/>
          </a:xfrm>
          <a:prstGeom prst="rect">
            <a:avLst/>
          </a:prstGeom>
          <a:solidFill>
            <a:srgbClr val="C3CFE1"/>
          </a:solidFill>
          <a:ln w="9525" algn="ctr">
            <a:solidFill>
              <a:srgbClr val="C3CFE1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ym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E137BB8-2FCC-0B95-932D-0F9E5DD3C6A4}"/>
              </a:ext>
            </a:extLst>
          </p:cNvPr>
          <p:cNvSpPr/>
          <p:nvPr userDrawn="1"/>
        </p:nvSpPr>
        <p:spPr>
          <a:xfrm>
            <a:off x="12542732" y="4088563"/>
            <a:ext cx="381964" cy="381964"/>
          </a:xfrm>
          <a:prstGeom prst="rect">
            <a:avLst/>
          </a:prstGeom>
          <a:solidFill>
            <a:srgbClr val="DFE5EF"/>
          </a:solidFill>
          <a:ln w="9525" algn="ctr">
            <a:solidFill>
              <a:srgbClr val="DFE5EF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AED7906-182B-DB5A-A16A-10EAE3C9C440}"/>
              </a:ext>
            </a:extLst>
          </p:cNvPr>
          <p:cNvSpPr/>
          <p:nvPr userDrawn="1"/>
        </p:nvSpPr>
        <p:spPr>
          <a:xfrm>
            <a:off x="12542732" y="4535740"/>
            <a:ext cx="381964" cy="381964"/>
          </a:xfrm>
          <a:prstGeom prst="rect">
            <a:avLst/>
          </a:prstGeom>
          <a:solidFill>
            <a:srgbClr val="D9D9D9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62DCE18-06F3-C3C4-60AB-281D3324C431}"/>
              </a:ext>
            </a:extLst>
          </p:cNvPr>
          <p:cNvSpPr/>
          <p:nvPr userDrawn="1"/>
        </p:nvSpPr>
        <p:spPr>
          <a:xfrm>
            <a:off x="12542732" y="4982917"/>
            <a:ext cx="381964" cy="381964"/>
          </a:xfrm>
          <a:prstGeom prst="rect">
            <a:avLst/>
          </a:prstGeom>
          <a:solidFill>
            <a:srgbClr val="BFBFB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lvl="0"/>
            <a:endParaRPr lang="en-US" sz="1662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991F041-D5D6-96A2-44F4-926FB239A740}"/>
              </a:ext>
            </a:extLst>
          </p:cNvPr>
          <p:cNvSpPr/>
          <p:nvPr userDrawn="1"/>
        </p:nvSpPr>
        <p:spPr>
          <a:xfrm>
            <a:off x="12542732" y="5877272"/>
            <a:ext cx="381964" cy="381964"/>
          </a:xfrm>
          <a:prstGeom prst="rect">
            <a:avLst/>
          </a:prstGeom>
          <a:solidFill>
            <a:srgbClr val="4D4D4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1A31B7F-EA16-B0C5-5363-C79B30DE4F32}"/>
              </a:ext>
            </a:extLst>
          </p:cNvPr>
          <p:cNvSpPr/>
          <p:nvPr userDrawn="1"/>
        </p:nvSpPr>
        <p:spPr>
          <a:xfrm>
            <a:off x="12542732" y="5430094"/>
            <a:ext cx="381964" cy="381964"/>
          </a:xfrm>
          <a:prstGeom prst="rect">
            <a:avLst/>
          </a:prstGeom>
          <a:solidFill>
            <a:srgbClr val="8A8B8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6DB8B28-9CF6-57FA-44CB-0A1A6A7297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1998" y="1062000"/>
            <a:ext cx="11520000" cy="5197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0642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tabLst>
          <a:tab pos="44767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5113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74638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613" indent="-2651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11">
          <p15:clr>
            <a:srgbClr val="F26B43"/>
          </p15:clr>
        </p15:guide>
        <p15:guide id="3" orient="horz">
          <p15:clr>
            <a:srgbClr val="F26B43"/>
          </p15:clr>
        </p15:guide>
        <p15:guide id="4" orient="horz" pos="663">
          <p15:clr>
            <a:srgbClr val="F26B43"/>
          </p15:clr>
        </p15:guide>
        <p15:guide id="5" pos="3840">
          <p15:clr>
            <a:srgbClr val="F26B43"/>
          </p15:clr>
        </p15:guide>
        <p15:guide id="6" pos="7469">
          <p15:clr>
            <a:srgbClr val="F26B43"/>
          </p15:clr>
        </p15:guide>
        <p15:guide id="7" orient="horz" pos="39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034C62C7-F4F2-34AD-9078-54E39676EF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423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4C62C7-F4F2-34AD-9078-54E39676E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750FB05-03B3-31D6-13E9-45859B581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0"/>
            <a:ext cx="11522075" cy="586860"/>
          </a:xfrm>
        </p:spPr>
        <p:txBody>
          <a:bodyPr vert="horz"/>
          <a:lstStyle/>
          <a:p>
            <a:r>
              <a:rPr lang="en-US" dirty="0" err="1"/>
              <a:t>Actiontitl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657A0C4-C8B8-C20A-40F4-198DBEFDF3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8200" y="3498226"/>
            <a:ext cx="7141359" cy="1276974"/>
          </a:xfrm>
        </p:spPr>
        <p:txBody>
          <a:bodyPr/>
          <a:lstStyle/>
          <a:p>
            <a:r>
              <a:rPr lang="en-US" dirty="0"/>
              <a:t>Solution conce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4B8857D-D18B-D3A8-4063-0B60FC536EA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8201" y="1718123"/>
            <a:ext cx="7141359" cy="325811"/>
          </a:xfrm>
        </p:spPr>
        <p:txBody>
          <a:bodyPr/>
          <a:lstStyle/>
          <a:p>
            <a:r>
              <a:rPr lang="en-US" dirty="0"/>
              <a:t>Initial situatio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E26BC16-C872-8FD7-00F3-E5DE233459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8200" y="5254719"/>
            <a:ext cx="7141360" cy="640515"/>
          </a:xfrm>
        </p:spPr>
        <p:txBody>
          <a:bodyPr/>
          <a:lstStyle/>
          <a:p>
            <a:r>
              <a:rPr lang="en-US" dirty="0"/>
              <a:t>Statemen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CE36457-C1FA-C38E-001A-01F1126851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4962" y="586859"/>
            <a:ext cx="11522075" cy="327540"/>
          </a:xfrm>
        </p:spPr>
        <p:txBody>
          <a:bodyPr/>
          <a:lstStyle/>
          <a:p>
            <a:r>
              <a:rPr lang="en-US"/>
              <a:t>Industry</a:t>
            </a:r>
            <a:endParaRPr lang="en-US" dirty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63C7E66-7E87-EC4E-912D-AAABFA419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ompany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4D61D5E3-D4B0-D197-98C8-14D6011715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Person responsibl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E09947DD-296C-6CD4-73A7-D185D8FA41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ID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14C0E3A6-12DA-9015-E731-1C738F77F4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Domai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597AA68-3067-A16D-4DB5-7DD23E954BF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0910" y="2045049"/>
            <a:ext cx="3628690" cy="492443"/>
          </a:xfrm>
        </p:spPr>
        <p:txBody>
          <a:bodyPr/>
          <a:lstStyle/>
          <a:p>
            <a:r>
              <a:rPr lang="en-US" dirty="0"/>
              <a:t>KPI 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7A604DC-B6DB-A34E-DBFC-D6C8FCFA6BF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0910" y="2488247"/>
            <a:ext cx="3628690" cy="606780"/>
          </a:xfrm>
        </p:spPr>
        <p:txBody>
          <a:bodyPr/>
          <a:lstStyle/>
          <a:p>
            <a:r>
              <a:rPr lang="en-US" dirty="0"/>
              <a:t>Description KPI 1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9CEF329-77B0-45F3-F4A4-CFC6F144639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0910" y="3095027"/>
            <a:ext cx="3628690" cy="443198"/>
          </a:xfrm>
        </p:spPr>
        <p:txBody>
          <a:bodyPr/>
          <a:lstStyle/>
          <a:p>
            <a:r>
              <a:rPr lang="en-US" dirty="0"/>
              <a:t>KPI 2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B9E3B2C7-A3AB-80F7-731A-D2A1C29939E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0910" y="3538225"/>
            <a:ext cx="3628690" cy="606780"/>
          </a:xfrm>
        </p:spPr>
        <p:txBody>
          <a:bodyPr/>
          <a:lstStyle/>
          <a:p>
            <a:r>
              <a:rPr lang="en-US" dirty="0"/>
              <a:t>Description KPI 2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C1B5B6C-0F79-A84B-7B56-8EBD941A875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40910" y="4145005"/>
            <a:ext cx="3628690" cy="443198"/>
          </a:xfrm>
        </p:spPr>
        <p:txBody>
          <a:bodyPr/>
          <a:lstStyle/>
          <a:p>
            <a:r>
              <a:rPr lang="en-US" dirty="0"/>
              <a:t>KPI 3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FCFA50D-210F-D3E8-C83E-CB744D4BC62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0910" y="4588203"/>
            <a:ext cx="3628690" cy="606780"/>
          </a:xfrm>
        </p:spPr>
        <p:txBody>
          <a:bodyPr/>
          <a:lstStyle/>
          <a:p>
            <a:r>
              <a:rPr lang="en-US" dirty="0"/>
              <a:t>Description KPI 3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035946D2-40C0-8A7C-809A-AD81A41491A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0910" y="5194983"/>
            <a:ext cx="3628690" cy="443198"/>
          </a:xfrm>
        </p:spPr>
        <p:txBody>
          <a:bodyPr/>
          <a:lstStyle/>
          <a:p>
            <a:r>
              <a:rPr lang="en-US" dirty="0"/>
              <a:t>KPI 4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4FEA0697-0F8C-CA8F-2575-383C5F5E2BD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0910" y="5638181"/>
            <a:ext cx="3628690" cy="606780"/>
          </a:xfrm>
        </p:spPr>
        <p:txBody>
          <a:bodyPr/>
          <a:lstStyle/>
          <a:p>
            <a:r>
              <a:rPr lang="en-US" dirty="0"/>
              <a:t>Description KPI 4</a:t>
            </a:r>
          </a:p>
        </p:txBody>
      </p:sp>
    </p:spTree>
    <p:extLst>
      <p:ext uri="{BB962C8B-B14F-4D97-AF65-F5344CB8AC3E}">
        <p14:creationId xmlns:p14="http://schemas.microsoft.com/office/powerpoint/2010/main" val="21169525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3&quot;&gt;&lt;elem m_fUsage=&quot;1.33046721000000012225E+00&quot;&gt;&lt;m_msothmcolidx val=&quot;0&quot;/&gt;&lt;m_rgb r=&quot;26&quot; g=&quot;26&quot; b=&quot;26&quot;/&gt;&lt;/elem&gt;&lt;elem m_fUsage=&quot;1.12381059609000022448E+00&quot;&gt;&lt;m_msothmcolidx val=&quot;0&quot;/&gt;&lt;m_rgb r=&quot;7B&quot; g=&quot;CB&quot; b=&quot;79&quot;/&gt;&lt;/elem&gt;&lt;elem m_fUsage=&quot;1.00973789999999996603E+00&quot;&gt;&lt;m_msothmcolidx val=&quot;0&quot;/&gt;&lt;m_rgb r=&quot;FF&quot; g=&quot;FF&quot; b=&quot;CC&quot;/&gt;&lt;/elem&gt;&lt;elem m_fUsage=&quot;1.00000000000000000000E+00&quot;&gt;&lt;m_msothmcolidx val=&quot;0&quot;/&gt;&lt;m_rgb r=&quot;FF&quot; g=&quot;80&quot; b=&quot;80&quot;/&gt;&lt;/elem&gt;&lt;elem m_fUsage=&quot;7.29000000000000092371E-01&quot;&gt;&lt;m_msothmcolidx val=&quot;0&quot;/&gt;&lt;m_rgb r=&quot;CC&quot; g=&quot;FF&quot; b=&quot;FF&quot;/&gt;&lt;/elem&gt;&lt;elem m_fUsage=&quot;6.56100000000000127542E-01&quot;&gt;&lt;m_msothmcolidx val=&quot;0&quot;/&gt;&lt;m_rgb r=&quot;CC&quot; g=&quot;CC&quot; b=&quot;FF&quot;/&gt;&lt;/elem&gt;&lt;elem m_fUsage=&quot;5.90490000000000181402E-01&quot;&gt;&lt;m_msothmcolidx val=&quot;0&quot;/&gt;&lt;m_rgb r=&quot;57&quot; g=&quot;57&quot; b=&quot;57&quot;/&gt;&lt;/elem&gt;&lt;elem m_fUsage=&quot;3.87420489000000145552E-01&quot;&gt;&lt;m_msothmcolidx val=&quot;0&quot;/&gt;&lt;m_rgb r=&quot;66&quot; g=&quot;00&quot; b=&quot;66&quot;/&gt;&lt;/elem&gt;&lt;elem m_fUsage=&quot;3.48678440100000153201E-01&quot;&gt;&lt;m_msothmcolidx val=&quot;0&quot;/&gt;&lt;m_rgb r=&quot;01&quot; g=&quot;01&quot; b=&quot;01&quot;/&gt;&lt;/elem&gt;&lt;elem m_fUsage=&quot;2.82429536481000165171E-01&quot;&gt;&lt;m_msothmcolidx val=&quot;0&quot;/&gt;&lt;m_rgb r=&quot;89&quot; g=&quot;ED&quot; b=&quot;70&quot;/&gt;&lt;/elem&gt;&lt;elem m_fUsage=&quot;2.54186582832900132001E-01&quot;&gt;&lt;m_msothmcolidx val=&quot;0&quot;/&gt;&lt;m_rgb r=&quot;16&quot; g=&quot;A4&quot; b=&quot;13&quot;/&gt;&lt;/elem&gt;&lt;elem m_fUsage=&quot;2.28767924549610118801E-01&quot;&gt;&lt;m_msothmcolidx val=&quot;0&quot;/&gt;&lt;m_rgb r=&quot;FF&quot; g=&quot;8E&quot; b=&quot;92&quot;/&gt;&lt;/elem&gt;&lt;elem m_fUsage=&quot;2.05891132094649098594E-01&quot;&gt;&lt;m_msothmcolidx val=&quot;0&quot;/&gt;&lt;m_rgb r=&quot;E6&quot; g=&quot;E6&quot; b=&quot;E6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d83083c4-fe3b-4c96-aa87-9b2af1a9ebdb"/>
  <p:tag name="EE4P_AGENDAWIZARD" val="&lt;ee4p&gt;&lt;layouts&gt;&lt;layout name=&quot;Divider Slide&quot; id=&quot;1_8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969696&quot; nameFarEast=&quot;&quot; nameComplexScript=&quot;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1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40.49992&quot; top=&quot;135.25&quot; width=&quot;878.8124&quot; height=&quot;350.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Single=&quot;2024_02_TCW Master_uvw¦1_Standardfolie mit Pfeil&quot; customLayoutName=&quot;2024_02_TCW Master_uvw¦1_Standardfolie mit Pfeil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customLayoutNameBackup=&quot;2024_02_TCW Master_uvw¦1_Standardfolie mit Pfeil&quot; /&gt;&lt;cases&gt;&lt;case level=&quot;1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31.75063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&gt;&lt;textframe verticalAnchor=&quot;3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ingle=&quot;1&quot; break=&quot;1&quot; topMinSpacing=&quot;12&quot; topMaxSpacing=&quot;20&quot; bottomMinSpacing=&quot;0&quot; bottomMaxSpacing=&quot;0&quot;&gt;&lt;element type=&quot;autoshape&quot; autoShapeType=&quot;1&quot; value=&quot;&quot;&gt;&lt;position left=&quot;(31.75063+(level-1)*51.87527)*scale*fontScale&quot; top=&quot;1.96843*scale*fontScale/2&quot; width=&quot;1.133858*scale*fontScale&quot; height=&quot;itemHeight-1.96843*scale*fontScale&quot; /&gt;&lt;fill foreColor=&quot;#969696&quot; visible=&quot;1&quot; /&gt;&lt;/element&gt;&lt;element field=&quot;itemno&quot; type=&quot;autoshape&quot; autoShapeType=&quot;1&quot; indent=&quot;(level-1)*51.87527*scale*fontScale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51.87527*scale*fontScale&quot; indentType=&quot;2&quot;&gt;&lt;paragraphformat alignment=&quot;1&quot; /&gt;&lt;textframe marginLeft=&quot;0&quot; /&gt;&lt;/element&gt;&lt;element field=&quot;responsible&quot; type=&quot;autoshape&quot; autoShapeType=&quot;1&quot; indent=&quot;(level-1)*51.87527*scale*fontScale&quot; indentType=&quot;1&quot;&gt;&lt;paragraphformat alignment=&quot;1&quot; /&gt;&lt;/element&gt;&lt;element field=&quot;freecolumn&quot; type=&quot;autoshape&quot; autoShapeType=&quot;1&quot; indent=&quot;(level-1)*51.87527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/cases&gt;&lt;elements&gt;&lt;element type=&quot;textbox&quot; zOrder=&quot;1&quot; value=&quot;%topic%&quot; slideType=&quot;2&quot;&gt;&lt;position left=&quot;339.2852&quot; top=&quot;108.71417&quot; width=&quot;areaWidth*318.4648/657.75&quot; height=&quot;43.62189&quot; /&gt;&lt;font name=&quot;Arial&quot; size=&quot;40&quot; bold=&quot;0&quot; italic=&quot;0&quot; color=&quot;5&quot; nameFarEast=&quot;&quot; nameComplexScript=&quot;&quot; /&gt;&lt;textframe wordWrap=&quot;1&quot; verticalAnchor=&quot;3&quot; /&gt;&lt;paragraphformat alignment=&quot;1&quot; /&gt;&lt;/element&gt;&lt;!--       &lt;element type=&quot;textbox&quot; zOrder=&quot;1&quot; value=&quot;%freeColumn%&quot; slideType=&quot;2&quot;&gt;&#10;          &lt;position left=&quot;339.2852&quot; top=&quot;142.4266&quot; width=&quot;318.4648&quot; height=&quot;21.82677&quot;/&gt;&#10;          &lt;font name=&quot;+mn-lt&quot; size=&quot;20&quot; bold=&quot;0&quot; italic=&quot;0&quot; color=&quot;#969696&quot;/&gt;&#10;          &lt;paragraphformat alignment=&quot;1&quot;/&gt;&#10;        &lt;/element&gt;&#10;        --&gt;&lt;element type=&quot;textbox&quot; zOrder=&quot;1&quot; value=&quot;%itemNoString%&quot; slideType=&quot;2&quot;&gt;&lt;position left=&quot;169.3128&quot; top=&quot;93.61142&quot; width=&quot;79.86024&quot; height=&quot;73.5&quot; /&gt;&lt;font name=&quot;Arial&quot; size=&quot;72&quot; bold=&quot;0&quot; italic=&quot;0&quot; color=&quot;5&quot; nameFarEast=&quot;&quot; nameComplexScript=&quot;&quot; /&gt;&lt;textframe verticalAnchor=&quot;3&quot; /&gt;&lt;paragraphformat alignment=&quot;3&quot; /&gt;&lt;/element&gt;&lt;element type=&quot;line&quot; value=&quot;&quot; slideType=&quot;2&quot;&gt;&lt;position left=&quot;290.8605&quot; top=&quot;75.1078&quot; width=&quot;0&quot; height=&quot;110.8346&quot; /&gt;&lt;line style=&quot;1&quot; dashStyle=&quot;1&quot; foreColor=&quot;5&quot; transparency=&quot;0&quot; visible=&quot;1&quot; weight=&quot;0.75&quot; /&gt;&lt;paragraphformat alignment=&quot;1&quot; /&gt;&lt;/element&gt;&lt;/elements&gt;&lt;/layout&gt;&lt;/layouts&gt;&lt;contents&gt;&lt;agenda name=&quot;New Agenda&quot; title=&quot;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8&quot; hideSeparatingSlides=&quot;0&quot; createSections=&quot;1&quot; singleSlideId=&quot;61011472-c7a4-439d-83f1-dd9a57b2016e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0&quot; rightDistribute=&quot;1&quot; dock=&quot;1&quot; rightSpacing=&quot;552.6906&quot; /&gt;&lt;column field=&quot;responsible&quot; label=&quot;Responsible&quot; visible=&quot;1&quot; checked=&quot;0&quot; leftSpacing=&quot;10&quot; rightDistribute=&quot;1&quot; dock=&quot;1&quot; rightSpacing=&quot;205.9839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27a30834-6042-4218-9c25-dff6bbfb7712&quot; parentId=&quot;&quot; level=&quot;1&quot; generateAgendaSlide=&quot;1&quot; showAgendaItem=&quot;1&quot; isBreak=&quot;0&quot; topic=&quot;Innovation Management&quot; agendaSlideId=&quot;56a576cf-bb2b-4ae2-9807-c4198b701f69&quot; sectionId=&quot;{76D4F924-BAC1-4581-8ACB-AED83F2A84ED}&quot; /&gt;&lt;item duration=&quot;30&quot; id=&quot;f1a486f2-611b-4b8f-b850-5e5c152f483e&quot; parentId=&quot;&quot; level=&quot;1&quot; generateAgendaSlide=&quot;1&quot; showAgendaItem=&quot;1&quot; isBreak=&quot;0&quot; topic=&quot;Product &amp;amp; Service Excellence &quot; agendaSlideId=&quot;fca82681-cd2e-4d19-8bfe-041b1d36daa0&quot; sectionId=&quot;{8AC0F033-C88B-4A87-BD14-949B38B54FED}&quot; /&gt;&lt;item duration=&quot;30&quot; id=&quot;455da16d-81d4-496a-a914-55d87292cd22&quot; parentId=&quot;&quot; level=&quot;1&quot; generateAgendaSlide=&quot;1&quot; showAgendaItem=&quot;1&quot; isBreak=&quot;0&quot; topic=&quot;Procurement&quot; agendaSlideId=&quot;e423de2d-cdee-4842-b517-2db6d4c31f66&quot; sectionId=&quot;{E5374370-1522-4671-B830-CE9EB6ED7AAF}&quot; /&gt;&lt;item duration=&quot;30&quot; id=&quot;55c01f84-efc2-4849-b451-808d2cd5e657&quot; parentId=&quot;&quot; level=&quot;1&quot; generateAgendaSlide=&quot;1&quot; showAgendaItem=&quot;1&quot; isBreak=&quot;0&quot; topic=&quot;Production &amp;amp; Supply Chain Managment&quot; agendaSlideId=&quot;68c8e4a8-6e9d-407c-ae81-d10545ff029e&quot; sectionId=&quot;{9B417A8F-5C98-43D0-B109-D4246E031EAE}&quot; /&gt;&lt;item duration=&quot;30&quot; id=&quot;d4aafe5b-51af-4182-94ad-6edab0caf264&quot; parentId=&quot;&quot; level=&quot;1&quot; generateAgendaSlide=&quot;1&quot; showAgendaItem=&quot;1&quot; isBreak=&quot;0&quot; topic=&quot;Digital Transformation, Data Analytics &amp;amp; AI&quot; agendaSlideId=&quot;c78cd36d-4e89-46db-89c7-d4b1d73ee9c6&quot; sectionId=&quot;{F19EE3A0-DDA9-4D9F-A429-3AB9CEDE4CC6}&quot; /&gt;&lt;/items&gt;&lt;/agenda&gt;&lt;/contents&gt;&lt;/ee4p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4_02_TCW Master_uvw">
  <a:themeElements>
    <a:clrScheme name="Benutzerdefiniert 1">
      <a:dk1>
        <a:sysClr val="windowText" lastClr="000000"/>
      </a:dk1>
      <a:lt1>
        <a:sysClr val="window" lastClr="FFFFFF"/>
      </a:lt1>
      <a:dk2>
        <a:srgbClr val="003366"/>
      </a:dk2>
      <a:lt2>
        <a:srgbClr val="DFE5EF"/>
      </a:lt2>
      <a:accent1>
        <a:srgbClr val="003366"/>
      </a:accent1>
      <a:accent2>
        <a:srgbClr val="1A2536"/>
      </a:accent2>
      <a:accent3>
        <a:srgbClr val="4C6C9C"/>
      </a:accent3>
      <a:accent4>
        <a:srgbClr val="6F8DB9"/>
      </a:accent4>
      <a:accent5>
        <a:srgbClr val="9DB1CF"/>
      </a:accent5>
      <a:accent6>
        <a:srgbClr val="E95E27"/>
      </a:accent6>
      <a:hlink>
        <a:srgbClr val="E95E27"/>
      </a:hlink>
      <a:folHlink>
        <a:srgbClr val="E95E2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a:spPr>
      <a:bodyPr rot="0" spcFirstLastPara="0" vertOverflow="overflow" horzOverflow="overflow" vert="horz" wrap="none" lIns="0" tIns="100905" rIns="0" bIns="100905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spcAft>
            <a:spcPct val="0"/>
          </a:spcAft>
          <a:defRPr sz="127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 algn="ctr">
          <a:solidFill>
            <a:schemeClr val="accent1"/>
          </a:solidFill>
          <a:prstDash val="solid"/>
          <a:miter lim="800000"/>
          <a:headEnd type="none"/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5D6039CE-0AA1-4ADE-A6A2-FE1C98FBA689}" vid="{3354DAED-971A-40C3-944F-4E80CBB1C7C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fb8dc1b-9d59-4105-bc07-f1f968f5154f">
      <UserInfo>
        <DisplayName>Budelmann, Enno</DisplayName>
        <AccountId>12</AccountId>
        <AccountType/>
      </UserInfo>
      <UserInfo>
        <DisplayName>SharingLinks.3068ac1d-a568-467f-a8c0-63ecd7162cbd.OrganizationEdit.ce5b78f9-ebba-4333-b65e-3f12b5be2b22</DisplayName>
        <AccountId>40</AccountId>
        <AccountType/>
      </UserInfo>
      <UserInfo>
        <DisplayName>Junker, Sebastian</DisplayName>
        <AccountId>15</AccountId>
        <AccountType/>
      </UserInfo>
      <UserInfo>
        <DisplayName>Bunk, Justus</DisplayName>
        <AccountId>201</AccountId>
        <AccountType/>
      </UserInfo>
    </SharedWithUsers>
    <lcf76f155ced4ddcb4097134ff3c332f xmlns="5b6c06b5-1db8-4c81-aedd-b1bde2b8bfd2">
      <Terms xmlns="http://schemas.microsoft.com/office/infopath/2007/PartnerControls"/>
    </lcf76f155ced4ddcb4097134ff3c332f>
    <TaxCatchAll xmlns="3fb8dc1b-9d59-4105-bc07-f1f968f5154f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FA53E48D41D05439A7FB623C7478AFF" ma:contentTypeVersion="18" ma:contentTypeDescription="Ein neues Dokument erstellen." ma:contentTypeScope="" ma:versionID="495b3b6b5079efe696b8d9f588648941">
  <xsd:schema xmlns:xsd="http://www.w3.org/2001/XMLSchema" xmlns:xs="http://www.w3.org/2001/XMLSchema" xmlns:p="http://schemas.microsoft.com/office/2006/metadata/properties" xmlns:ns2="5b6c06b5-1db8-4c81-aedd-b1bde2b8bfd2" xmlns:ns3="3fb8dc1b-9d59-4105-bc07-f1f968f5154f" targetNamespace="http://schemas.microsoft.com/office/2006/metadata/properties" ma:root="true" ma:fieldsID="2182acfa1422538829d9682ba2cc316e" ns2:_="" ns3:_="">
    <xsd:import namespace="5b6c06b5-1db8-4c81-aedd-b1bde2b8bfd2"/>
    <xsd:import namespace="3fb8dc1b-9d59-4105-bc07-f1f968f5154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6c06b5-1db8-4c81-aedd-b1bde2b8bf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d6687f3c-77d6-40c4-a182-05bf9507e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b8dc1b-9d59-4105-bc07-f1f968f5154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00ddd5a7-ec8d-41ea-9803-d40f54a04c1e}" ma:internalName="TaxCatchAll" ma:showField="CatchAllData" ma:web="3fb8dc1b-9d59-4105-bc07-f1f968f5154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834EEC2-295B-443A-8029-DF87F749AE1B}">
  <ds:schemaRefs>
    <ds:schemaRef ds:uri="3fb8dc1b-9d59-4105-bc07-f1f968f5154f"/>
    <ds:schemaRef ds:uri="5b6c06b5-1db8-4c81-aedd-b1bde2b8bfd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8709FC7-DADA-4BD7-AD71-1B217709B1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b6c06b5-1db8-4c81-aedd-b1bde2b8bfd2"/>
    <ds:schemaRef ds:uri="3fb8dc1b-9d59-4105-bc07-f1f968f515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76FA841-F04D-4D27-A487-F98BD028EA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2</Words>
  <Application>Microsoft Office PowerPoint</Application>
  <PresentationFormat>Breitbild</PresentationFormat>
  <Paragraphs>17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ourier New</vt:lpstr>
      <vt:lpstr>Symbol</vt:lpstr>
      <vt:lpstr>Wingdings</vt:lpstr>
      <vt:lpstr>2024_02_TCW Master_uvw</vt:lpstr>
      <vt:lpstr>think-cell Folie</vt:lpstr>
      <vt:lpstr>Actiontitle</vt:lpstr>
    </vt:vector>
  </TitlesOfParts>
  <Manager/>
  <Company>TCW Transfer-Centrum GmbH &amp; Co. K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vonWaldow, Ulrich</dc:creator>
  <cp:keywords>, docId:AEBEB4E5AFF77D24A7487559A5952AD8</cp:keywords>
  <dc:description/>
  <cp:lastModifiedBy>vonWaldow, Ulrich</cp:lastModifiedBy>
  <cp:revision>7</cp:revision>
  <cp:lastPrinted>1999-12-31T23:00:00Z</cp:lastPrinted>
  <dcterms:created xsi:type="dcterms:W3CDTF">2024-02-19T13:17:53Z</dcterms:created>
  <dcterms:modified xsi:type="dcterms:W3CDTF">2024-09-06T08:56:29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A53E48D41D05439A7FB623C7478AFF</vt:lpwstr>
  </property>
  <property fmtid="{D5CDD505-2E9C-101B-9397-08002B2CF9AE}" pid="3" name="MediaServiceImageTags">
    <vt:lpwstr/>
  </property>
  <property fmtid="{D5CDD505-2E9C-101B-9397-08002B2CF9AE}" pid="4" name="Order">
    <vt:lpwstr>165000.0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SharedWithUsers">
    <vt:lpwstr>12;#Eckert, Sebastian;#40;#Sandikci, Süleyman</vt:lpwstr>
  </property>
</Properties>
</file>